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555" r:id="rId2"/>
    <p:sldId id="558" r:id="rId3"/>
    <p:sldId id="560" r:id="rId4"/>
    <p:sldId id="562" r:id="rId5"/>
    <p:sldId id="559" r:id="rId6"/>
    <p:sldId id="561" r:id="rId7"/>
    <p:sldId id="563" r:id="rId8"/>
  </p:sldIdLst>
  <p:sldSz cx="12192000" cy="6858000"/>
  <p:notesSz cx="7077075" cy="93853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B9BD5"/>
    <a:srgbClr val="FFFFFF"/>
    <a:srgbClr val="C2C2C2"/>
    <a:srgbClr val="CECECE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243" autoAdjust="0"/>
    <p:restoredTop sz="94573" autoAdjust="0"/>
  </p:normalViewPr>
  <p:slideViewPr>
    <p:cSldViewPr snapToGrid="0">
      <p:cViewPr varScale="1">
        <p:scale>
          <a:sx n="68" d="100"/>
          <a:sy n="68" d="100"/>
        </p:scale>
        <p:origin x="1014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7050" cy="471488"/>
          </a:xfrm>
          <a:prstGeom prst="rect">
            <a:avLst/>
          </a:prstGeom>
        </p:spPr>
        <p:txBody>
          <a:bodyPr vert="horz" lIns="94064" tIns="47032" rIns="94064" bIns="47032" rtlCol="0"/>
          <a:lstStyle>
            <a:lvl1pPr algn="l"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438" y="0"/>
            <a:ext cx="3067050" cy="471488"/>
          </a:xfrm>
          <a:prstGeom prst="rect">
            <a:avLst/>
          </a:prstGeom>
        </p:spPr>
        <p:txBody>
          <a:bodyPr vert="horz" lIns="94064" tIns="47032" rIns="94064" bIns="47032" rtlCol="0"/>
          <a:lstStyle>
            <a:lvl1pPr algn="r" eaLnBrk="0" hangingPunct="0">
              <a:defRPr sz="1200" smtClean="0">
                <a:cs typeface="+mn-cs"/>
              </a:defRPr>
            </a:lvl1pPr>
          </a:lstStyle>
          <a:p>
            <a:pPr>
              <a:defRPr/>
            </a:pPr>
            <a:fld id="{055615E1-F157-49C4-9B54-85552EEC20DA}" type="datetimeFigureOut">
              <a:rPr lang="en-US"/>
              <a:pPr>
                <a:defRPr/>
              </a:pPr>
              <a:t>11/3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913813"/>
            <a:ext cx="3067050" cy="471487"/>
          </a:xfrm>
          <a:prstGeom prst="rect">
            <a:avLst/>
          </a:prstGeom>
        </p:spPr>
        <p:txBody>
          <a:bodyPr vert="horz" lIns="94064" tIns="47032" rIns="94064" bIns="47032" rtlCol="0" anchor="b"/>
          <a:lstStyle>
            <a:lvl1pPr algn="l"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438" y="8913813"/>
            <a:ext cx="3067050" cy="471487"/>
          </a:xfrm>
          <a:prstGeom prst="rect">
            <a:avLst/>
          </a:prstGeom>
        </p:spPr>
        <p:txBody>
          <a:bodyPr vert="horz" wrap="square" lIns="94064" tIns="47032" rIns="94064" bIns="47032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fld id="{7F04C5A1-8050-45FE-834A-F32B5A8F3DC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185174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7050" cy="471488"/>
          </a:xfrm>
          <a:prstGeom prst="rect">
            <a:avLst/>
          </a:prstGeom>
        </p:spPr>
        <p:txBody>
          <a:bodyPr vert="horz" lIns="94064" tIns="47032" rIns="94064" bIns="47032" rtlCol="0"/>
          <a:lstStyle>
            <a:lvl1pPr algn="l"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438" y="0"/>
            <a:ext cx="3067050" cy="471488"/>
          </a:xfrm>
          <a:prstGeom prst="rect">
            <a:avLst/>
          </a:prstGeom>
        </p:spPr>
        <p:txBody>
          <a:bodyPr vert="horz" lIns="94064" tIns="47032" rIns="94064" bIns="47032" rtlCol="0"/>
          <a:lstStyle>
            <a:lvl1pPr algn="r"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fld id="{BFBEA6FE-3547-4DBF-8CE6-A9A2A24A2084}" type="datetimeFigureOut">
              <a:rPr lang="en-US"/>
              <a:pPr>
                <a:defRPr/>
              </a:pPr>
              <a:t>11/30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1173163"/>
            <a:ext cx="5629275" cy="31670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64" tIns="47032" rIns="94064" bIns="47032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8025" y="4516438"/>
            <a:ext cx="5661025" cy="3695700"/>
          </a:xfrm>
          <a:prstGeom prst="rect">
            <a:avLst/>
          </a:prstGeom>
        </p:spPr>
        <p:txBody>
          <a:bodyPr vert="horz" lIns="94064" tIns="47032" rIns="94064" bIns="47032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3813"/>
            <a:ext cx="3067050" cy="471487"/>
          </a:xfrm>
          <a:prstGeom prst="rect">
            <a:avLst/>
          </a:prstGeom>
        </p:spPr>
        <p:txBody>
          <a:bodyPr vert="horz" lIns="94064" tIns="47032" rIns="94064" bIns="47032" rtlCol="0" anchor="b"/>
          <a:lstStyle>
            <a:lvl1pPr algn="l"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438" y="8913813"/>
            <a:ext cx="3067050" cy="471487"/>
          </a:xfrm>
          <a:prstGeom prst="rect">
            <a:avLst/>
          </a:prstGeom>
        </p:spPr>
        <p:txBody>
          <a:bodyPr vert="horz" wrap="square" lIns="94064" tIns="47032" rIns="94064" bIns="47032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fld id="{9DC93AAB-CC68-4658-883D-C51B0310B97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219765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823450" cy="405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lowchart: Manual Input 4"/>
          <p:cNvSpPr/>
          <p:nvPr userDrawn="1"/>
        </p:nvSpPr>
        <p:spPr>
          <a:xfrm rot="5400000" flipH="1">
            <a:off x="-2073275" y="2063750"/>
            <a:ext cx="6875463" cy="2728913"/>
          </a:xfrm>
          <a:prstGeom prst="flowChartManualInput">
            <a:avLst/>
          </a:prstGeom>
          <a:solidFill>
            <a:schemeClr val="bg2">
              <a:lumMod val="10000"/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4056063"/>
            <a:ext cx="9999663" cy="2801937"/>
          </a:xfrm>
          <a:prstGeom prst="rect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7" name="Flowchart: Manual Input 6"/>
          <p:cNvSpPr/>
          <p:nvPr userDrawn="1"/>
        </p:nvSpPr>
        <p:spPr>
          <a:xfrm rot="5400000" flipH="1" flipV="1">
            <a:off x="7381875" y="2047875"/>
            <a:ext cx="6858000" cy="2762250"/>
          </a:xfrm>
          <a:prstGeom prst="flowChartManualInput">
            <a:avLst/>
          </a:prstGeom>
          <a:gradFill flip="none" rotWithShape="1">
            <a:gsLst>
              <a:gs pos="0">
                <a:srgbClr val="001D34"/>
              </a:gs>
              <a:gs pos="100000">
                <a:srgbClr val="001D3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0185400" y="6396038"/>
            <a:ext cx="1820863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defRPr/>
            </a:pPr>
            <a:r>
              <a:rPr lang="hu-HU" sz="1400" smtClean="0">
                <a:solidFill>
                  <a:srgbClr val="FFFFFF"/>
                </a:solidFill>
                <a:latin typeface="Arial Narrow" panose="020B0606020202030204" pitchFamily="34" charset="0"/>
                <a:cs typeface="+mn-cs"/>
              </a:rPr>
              <a:t>IBM &amp; Client Confidential</a:t>
            </a:r>
            <a:endParaRPr lang="hu-HU" sz="2400" smtClean="0">
              <a:solidFill>
                <a:srgbClr val="FFFFFF"/>
              </a:solidFill>
              <a:latin typeface="Arial Narrow" panose="020B0606020202030204" pitchFamily="34" charset="0"/>
              <a:cs typeface="+mn-cs"/>
            </a:endParaRPr>
          </a:p>
        </p:txBody>
      </p:sp>
      <p:pic>
        <p:nvPicPr>
          <p:cNvPr id="9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2513" y="295275"/>
            <a:ext cx="727075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lowchart: Manual Input 60"/>
          <p:cNvSpPr/>
          <p:nvPr userDrawn="1"/>
        </p:nvSpPr>
        <p:spPr>
          <a:xfrm rot="5400000" flipH="1">
            <a:off x="-200025" y="4256088"/>
            <a:ext cx="2801937" cy="2401888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895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895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895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895"/>
                </a:lnTo>
                <a:close/>
              </a:path>
            </a:pathLst>
          </a:custGeom>
          <a:blipFill dpi="0" rotWithShape="0">
            <a:blip r:embed="rId4" cstate="print">
              <a:alphaModFix amt="47000"/>
              <a:extLst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11" name="Flowchart: Manual Input 10"/>
          <p:cNvSpPr/>
          <p:nvPr userDrawn="1"/>
        </p:nvSpPr>
        <p:spPr>
          <a:xfrm rot="16200000" flipV="1">
            <a:off x="-2074862" y="2063749"/>
            <a:ext cx="6858000" cy="2730501"/>
          </a:xfrm>
          <a:prstGeom prst="flowChartManualInpu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20537" y="4326673"/>
            <a:ext cx="6798900" cy="1177504"/>
          </a:xfrm>
        </p:spPr>
        <p:txBody>
          <a:bodyPr/>
          <a:lstStyle>
            <a:lvl1pPr algn="l"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20537" y="5511799"/>
            <a:ext cx="6809213" cy="705481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63486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823450" cy="405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lowchart: Manual Input 4"/>
          <p:cNvSpPr/>
          <p:nvPr userDrawn="1"/>
        </p:nvSpPr>
        <p:spPr>
          <a:xfrm rot="5400000" flipH="1">
            <a:off x="-2073275" y="2063750"/>
            <a:ext cx="6875463" cy="2728913"/>
          </a:xfrm>
          <a:prstGeom prst="flowChartManualInput">
            <a:avLst/>
          </a:prstGeom>
          <a:solidFill>
            <a:schemeClr val="bg2">
              <a:lumMod val="10000"/>
              <a:alpha val="1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4056063"/>
            <a:ext cx="9999663" cy="2801937"/>
          </a:xfrm>
          <a:prstGeom prst="rect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7" name="Flowchart: Manual Input 6"/>
          <p:cNvSpPr/>
          <p:nvPr userDrawn="1"/>
        </p:nvSpPr>
        <p:spPr>
          <a:xfrm rot="5400000" flipH="1" flipV="1">
            <a:off x="7381875" y="2047875"/>
            <a:ext cx="6858000" cy="2762250"/>
          </a:xfrm>
          <a:prstGeom prst="flowChartManualInput">
            <a:avLst/>
          </a:prstGeom>
          <a:gradFill flip="none" rotWithShape="1">
            <a:gsLst>
              <a:gs pos="0">
                <a:srgbClr val="001D34"/>
              </a:gs>
              <a:gs pos="100000">
                <a:srgbClr val="001D3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0185400" y="6396038"/>
            <a:ext cx="1895071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defRPr/>
            </a:pPr>
            <a:r>
              <a:rPr lang="hu-HU" sz="1400" dirty="0" smtClean="0">
                <a:solidFill>
                  <a:srgbClr val="FFFFFF"/>
                </a:solidFill>
                <a:latin typeface="Arial Narrow" panose="020B0606020202030204" pitchFamily="34" charset="0"/>
                <a:cs typeface="+mn-cs"/>
              </a:rPr>
              <a:t>ECB and IBM Confidential</a:t>
            </a:r>
          </a:p>
        </p:txBody>
      </p:sp>
      <p:pic>
        <p:nvPicPr>
          <p:cNvPr id="9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2513" y="295275"/>
            <a:ext cx="727075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lowchart: Manual Input 9"/>
          <p:cNvSpPr/>
          <p:nvPr userDrawn="1"/>
        </p:nvSpPr>
        <p:spPr>
          <a:xfrm rot="16200000" flipV="1">
            <a:off x="-2074862" y="2063749"/>
            <a:ext cx="6858000" cy="2730501"/>
          </a:xfrm>
          <a:prstGeom prst="flowChartManualInpu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11" name="Flowchart: Manual Input 60"/>
          <p:cNvSpPr/>
          <p:nvPr userDrawn="1"/>
        </p:nvSpPr>
        <p:spPr>
          <a:xfrm rot="5400000" flipH="1">
            <a:off x="-200025" y="4256088"/>
            <a:ext cx="2801937" cy="2401888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895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895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895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895"/>
                </a:lnTo>
                <a:close/>
              </a:path>
            </a:pathLst>
          </a:custGeom>
          <a:blipFill dpi="0" rotWithShape="0">
            <a:blip r:embed="rId4" cstate="print">
              <a:extLst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20537" y="4326673"/>
            <a:ext cx="6798900" cy="1177504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20537" y="5511799"/>
            <a:ext cx="6809213" cy="705481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9501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" descr="5300_IBMpos_black_PPT_bkgd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0563" y="200025"/>
            <a:ext cx="974725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184" y="622099"/>
            <a:ext cx="11459633" cy="65864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</p:nvPr>
        </p:nvSpPr>
        <p:spPr bwMode="black">
          <a:xfrm>
            <a:off x="242888" y="6537325"/>
            <a:ext cx="488950" cy="184150"/>
          </a:xfrm>
          <a:prstGeom prst="rect">
            <a:avLst/>
          </a:prstGeom>
          <a:ex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000000"/>
                </a:solidFill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1DFA2C9-77F6-4ADE-9927-1FD769BFCD5D}" type="slidenum">
              <a:rPr lang="en-US" altLang="en-US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ea typeface="MS PGothic" pitchFamily="34" charset="-128"/>
            </a:endParaRPr>
          </a:p>
        </p:txBody>
      </p:sp>
      <p:sp>
        <p:nvSpPr>
          <p:cNvPr id="8" name="Footer Placeholder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 eaLnBrk="1" hangingPunct="1">
              <a:defRPr sz="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ECB and IBM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6212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ECB and IBM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3880" y="6350001"/>
            <a:ext cx="2743200" cy="365125"/>
          </a:xfrm>
        </p:spPr>
        <p:txBody>
          <a:bodyPr/>
          <a:lstStyle>
            <a:lvl1pPr algn="l"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303673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54288" y="1430338"/>
            <a:ext cx="8799512" cy="474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/>
              <a:t>Click to edit Master text styles</a:t>
            </a:r>
          </a:p>
          <a:p>
            <a:pPr lvl="1"/>
            <a:r>
              <a:rPr lang="en-US" altLang="hu-HU" smtClean="0"/>
              <a:t>Second level</a:t>
            </a:r>
          </a:p>
          <a:p>
            <a:pPr lvl="2"/>
            <a:r>
              <a:rPr lang="en-US" altLang="hu-HU" smtClean="0"/>
              <a:t>Third level</a:t>
            </a:r>
          </a:p>
          <a:p>
            <a:pPr lvl="3"/>
            <a:r>
              <a:rPr lang="en-US" altLang="hu-HU" smtClean="0"/>
              <a:t>Fourth level</a:t>
            </a:r>
          </a:p>
          <a:p>
            <a:pPr lvl="4"/>
            <a:r>
              <a:rPr lang="en-US" altLang="hu-HU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6/8/217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ECB and IBM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9D0FAA09-0A0A-4D14-8EEA-358E5D0FE170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037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2513" y="295275"/>
            <a:ext cx="727075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8" name="Title Placeholder 1"/>
          <p:cNvSpPr>
            <a:spLocks noGrp="1"/>
          </p:cNvSpPr>
          <p:nvPr>
            <p:ph type="title"/>
          </p:nvPr>
        </p:nvSpPr>
        <p:spPr bwMode="auto">
          <a:xfrm>
            <a:off x="2554288" y="133350"/>
            <a:ext cx="6846887" cy="75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/>
              <a:t>Click to edit Master title style</a:t>
            </a:r>
          </a:p>
        </p:txBody>
      </p:sp>
      <p:pic>
        <p:nvPicPr>
          <p:cNvPr id="14" name="Picture 9" descr="https://www.ecb.europa.eu/shared/dist/img/logos/logos-ecb/ECB_EN_RGB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5338" y="120650"/>
            <a:ext cx="1034797" cy="45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 descr="Image result for ibm logo transparent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7542" y="6435248"/>
            <a:ext cx="872593" cy="388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30" r:id="rId4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bg1"/>
          </a:solidFill>
          <a:latin typeface="Arial Narrow" panose="020B060602020203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 Narrow" panose="020B0606020202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 Narrow" panose="020B0606020202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 Narrow" panose="020B0606020202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 Narrow" panose="020B0606020202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235974" y="914701"/>
            <a:ext cx="11451101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2000" dirty="0" smtClean="0"/>
              <a:t>As on 1</a:t>
            </a:r>
            <a:r>
              <a:rPr lang="en-US" altLang="en-US" sz="2000" baseline="30000" dirty="0" smtClean="0"/>
              <a:t>st</a:t>
            </a:r>
            <a:r>
              <a:rPr lang="en-US" altLang="en-US" sz="2000" dirty="0" smtClean="0"/>
              <a:t> </a:t>
            </a:r>
            <a:r>
              <a:rPr lang="en-US" altLang="en-US" sz="2000" dirty="0" smtClean="0"/>
              <a:t>Dec 2017, </a:t>
            </a:r>
            <a:r>
              <a:rPr lang="en-US" altLang="en-US" sz="2000" dirty="0" smtClean="0"/>
              <a:t>3 entities are assigned to entity group “LSI subordinate</a:t>
            </a:r>
            <a:r>
              <a:rPr lang="en-US" altLang="en-US" sz="2000" dirty="0" smtClean="0"/>
              <a:t>”. All these banks have </a:t>
            </a:r>
            <a:r>
              <a:rPr lang="en-US" sz="2000" dirty="0"/>
              <a:t>Start </a:t>
            </a:r>
            <a:r>
              <a:rPr lang="en-US" sz="2000" dirty="0" smtClean="0"/>
              <a:t>Date as </a:t>
            </a:r>
            <a:r>
              <a:rPr lang="en-US" sz="2000" dirty="0"/>
              <a:t>01/01/2017 &amp; End date is </a:t>
            </a:r>
            <a:r>
              <a:rPr lang="en-US" sz="2000" dirty="0" smtClean="0"/>
              <a:t>Blank in entity master</a:t>
            </a:r>
            <a:endParaRPr 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2000" dirty="0" smtClean="0"/>
              <a:t>Below </a:t>
            </a:r>
            <a:r>
              <a:rPr lang="en-US" altLang="en-US" sz="2000" dirty="0" smtClean="0"/>
              <a:t>banks are not assigned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1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516881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 current status of entity assignments </a:t>
            </a:r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entity </a:t>
            </a:r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971843" y="1709700"/>
            <a:ext cx="2335237" cy="35169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016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321148" y="1709700"/>
            <a:ext cx="2335237" cy="35169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017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5670453" y="1709700"/>
            <a:ext cx="2335237" cy="35169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018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8019758" y="1709700"/>
            <a:ext cx="2335237" cy="35169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…9999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971843" y="2061391"/>
            <a:ext cx="2335237" cy="24373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3321148" y="2061391"/>
            <a:ext cx="2335237" cy="24373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5670453" y="2061391"/>
            <a:ext cx="2335237" cy="24373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8019758" y="2061391"/>
            <a:ext cx="2335237" cy="24373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971844" y="2346382"/>
            <a:ext cx="3473548" cy="26728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50986" y="2698074"/>
            <a:ext cx="3529819" cy="26728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656384" y="3135057"/>
            <a:ext cx="4698611" cy="227733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3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838071" y="3577746"/>
            <a:ext cx="3516924" cy="26994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 4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083211" y="5123676"/>
            <a:ext cx="2335237" cy="22468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 </a:t>
            </a:r>
            <a:r>
              <a:rPr lang="en-US" dirty="0" smtClean="0">
                <a:solidFill>
                  <a:schemeClr val="tx1"/>
                </a:solidFill>
              </a:rPr>
              <a:t>6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083213" y="5463905"/>
            <a:ext cx="2335237" cy="22468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 </a:t>
            </a:r>
            <a:r>
              <a:rPr lang="en-US" dirty="0" smtClean="0">
                <a:solidFill>
                  <a:schemeClr val="tx1"/>
                </a:solidFill>
              </a:rPr>
              <a:t>7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8019757" y="4007658"/>
            <a:ext cx="1602545" cy="24113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 5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083212" y="5838323"/>
            <a:ext cx="2335237" cy="22468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 </a:t>
            </a:r>
            <a:r>
              <a:rPr lang="en-US" dirty="0" smtClean="0">
                <a:solidFill>
                  <a:schemeClr val="tx1"/>
                </a:solidFill>
              </a:rPr>
              <a:t>8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083211" y="6212741"/>
            <a:ext cx="2335237" cy="22468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 </a:t>
            </a:r>
            <a:r>
              <a:rPr lang="en-US" dirty="0">
                <a:solidFill>
                  <a:schemeClr val="tx1"/>
                </a:solidFill>
              </a:rPr>
              <a:t>9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750986" y="5095369"/>
            <a:ext cx="48133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art Date: 01/01/2017 &amp; End date is 31/06/2018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3749231" y="5414536"/>
            <a:ext cx="42121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art Date: 01/01/2017 &amp; End date is Blank</a:t>
            </a:r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3749231" y="5778314"/>
            <a:ext cx="42121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art Date: 01/01/2017 &amp; End date is Blank</a:t>
            </a:r>
            <a:endParaRPr 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3749230" y="6097481"/>
            <a:ext cx="42121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art Date: 01/01/2017 &amp; End date is Bla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55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235974" y="1083511"/>
            <a:ext cx="11451101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2000" dirty="0" smtClean="0"/>
              <a:t>Action tak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2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1061269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 1: Only for 2018, LSI subordinate group to be revised &amp; Bank </a:t>
            </a:r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</a:t>
            </a:r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</a:t>
            </a:r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k7 </a:t>
            </a:r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e updated 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971843" y="1895502"/>
            <a:ext cx="2335237" cy="35169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016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321148" y="1895502"/>
            <a:ext cx="2335237" cy="35169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017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5670453" y="1895502"/>
            <a:ext cx="2335237" cy="351692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018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8019758" y="1895502"/>
            <a:ext cx="2335237" cy="35169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….9999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971843" y="2247192"/>
            <a:ext cx="2335237" cy="333768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3321148" y="2247192"/>
            <a:ext cx="2335237" cy="333768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5670453" y="2247192"/>
            <a:ext cx="2335237" cy="33376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8019758" y="2247192"/>
            <a:ext cx="2335237" cy="333768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971844" y="2532184"/>
            <a:ext cx="3473548" cy="26728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50986" y="2883875"/>
            <a:ext cx="4254704" cy="277011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656384" y="3320859"/>
            <a:ext cx="4698611" cy="227733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3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670453" y="3763548"/>
            <a:ext cx="4684542" cy="280382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 4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019757" y="4193460"/>
            <a:ext cx="1602545" cy="24113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 5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5656384" y="4748203"/>
            <a:ext cx="1520487" cy="24057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 </a:t>
            </a:r>
            <a:r>
              <a:rPr lang="en-US" dirty="0" smtClean="0">
                <a:solidFill>
                  <a:schemeClr val="tx1"/>
                </a:solidFill>
              </a:rPr>
              <a:t>6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5656383" y="5267656"/>
            <a:ext cx="2335237" cy="22468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 </a:t>
            </a:r>
            <a:r>
              <a:rPr lang="en-US" dirty="0" smtClean="0">
                <a:solidFill>
                  <a:schemeClr val="tx1"/>
                </a:solidFill>
              </a:rPr>
              <a:t>7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153399" y="2799470"/>
            <a:ext cx="30444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Valid to increased to Dec’18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3717" y="2204035"/>
            <a:ext cx="1508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B050"/>
                </a:solidFill>
              </a:rPr>
              <a:t>No change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453350" y="3241939"/>
            <a:ext cx="1508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B050"/>
                </a:solidFill>
              </a:rPr>
              <a:t>No change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0354994" y="3576732"/>
            <a:ext cx="18229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Valid from pre-ponded to Jan’18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838071" y="4084619"/>
            <a:ext cx="1508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B050"/>
                </a:solidFill>
              </a:rPr>
              <a:t>No change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627025" y="1241899"/>
            <a:ext cx="23786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Valid from: 01/01/2018</a:t>
            </a:r>
          </a:p>
          <a:p>
            <a:r>
              <a:rPr lang="en-US" dirty="0" smtClean="0"/>
              <a:t>Valid To: </a:t>
            </a:r>
            <a:r>
              <a:rPr lang="en-US" dirty="0" smtClean="0"/>
              <a:t>    31/12/2018</a:t>
            </a:r>
            <a:endParaRPr 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7298787" y="4712339"/>
            <a:ext cx="4388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2060"/>
                </a:solidFill>
              </a:rPr>
              <a:t>New entry. Valid </a:t>
            </a:r>
            <a:r>
              <a:rPr lang="en-US" dirty="0" smtClean="0">
                <a:solidFill>
                  <a:srgbClr val="002060"/>
                </a:solidFill>
              </a:rPr>
              <a:t>to </a:t>
            </a:r>
            <a:r>
              <a:rPr lang="en-US" dirty="0" smtClean="0">
                <a:solidFill>
                  <a:srgbClr val="002060"/>
                </a:solidFill>
              </a:rPr>
              <a:t>reduced to Jun’18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132711" y="5174893"/>
            <a:ext cx="1897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2060"/>
                </a:solidFill>
              </a:rPr>
              <a:t>New entry. 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656383" y="2517004"/>
            <a:ext cx="2363374" cy="25943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8033825" y="2440608"/>
            <a:ext cx="1897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2060"/>
                </a:solidFill>
              </a:rPr>
              <a:t>New entry. </a:t>
            </a:r>
            <a:endParaRPr 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003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3</a:t>
            </a:fld>
            <a:endParaRPr lang="en-US" altLang="en-US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6851447"/>
              </p:ext>
            </p:extLst>
          </p:nvPr>
        </p:nvGraphicFramePr>
        <p:xfrm>
          <a:off x="691663" y="2799478"/>
          <a:ext cx="10506221" cy="3235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994"/>
                <a:gridCol w="1735092"/>
                <a:gridCol w="1536495"/>
                <a:gridCol w="1970140"/>
                <a:gridCol w="1970140"/>
                <a:gridCol w="1422680"/>
                <a:gridCol w="1422680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lid Fro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lid T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PER Unique Identifi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porting entity 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tart Da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lose Dat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mtClean="0">
                          <a:solidFill>
                            <a:schemeClr val="tx1"/>
                          </a:solidFill>
                        </a:rPr>
                        <a:t>31/12/2018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CAS00…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ank 1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1/2016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mtClean="0">
                          <a:solidFill>
                            <a:schemeClr val="tx1"/>
                          </a:solidFill>
                        </a:rPr>
                        <a:t>31/12/2018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CAS00…</a:t>
                      </a:r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Bank 2</a:t>
                      </a:r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01/01/2016</a:t>
                      </a:r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mtClean="0">
                          <a:solidFill>
                            <a:schemeClr val="tx1"/>
                          </a:solidFill>
                        </a:rPr>
                        <a:t>01/01/2018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31/12/2018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CAS00…</a:t>
                      </a:r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Bank 4</a:t>
                      </a:r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01/01/2016</a:t>
                      </a:r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mtClean="0">
                          <a:solidFill>
                            <a:schemeClr val="tx1"/>
                          </a:solidFill>
                        </a:rPr>
                        <a:t>01/01/2018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0070C0"/>
                          </a:solidFill>
                        </a:rPr>
                        <a:t>31/06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ank </a:t>
                      </a:r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1/01/20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31/06/2018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mtClean="0">
                          <a:solidFill>
                            <a:schemeClr val="tx1"/>
                          </a:solidFill>
                        </a:rPr>
                        <a:t>01/01/2018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mtClean="0">
                          <a:solidFill>
                            <a:schemeClr val="tx1"/>
                          </a:solidFill>
                        </a:rPr>
                        <a:t>31/12/2018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ank 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/>
                        <a:t>01/01/20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mtClean="0">
                          <a:solidFill>
                            <a:schemeClr val="tx1"/>
                          </a:solidFill>
                        </a:rPr>
                        <a:t>01/01/2018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mtClean="0">
                          <a:solidFill>
                            <a:schemeClr val="tx1"/>
                          </a:solidFill>
                        </a:rPr>
                        <a:t>31/12/2018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ank 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/>
                        <a:t>01/01/20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31/12/2018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ank</a:t>
                      </a:r>
                      <a:r>
                        <a:rPr lang="en-US" baseline="0" dirty="0" smtClean="0"/>
                        <a:t> 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1/01/20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831169" y="3000063"/>
            <a:ext cx="182880" cy="19694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31169" y="3480649"/>
            <a:ext cx="182880" cy="19694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831169" y="3931732"/>
            <a:ext cx="182880" cy="19694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831169" y="4290957"/>
            <a:ext cx="182880" cy="19694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831169" y="4656652"/>
            <a:ext cx="182880" cy="19694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831169" y="5012703"/>
            <a:ext cx="182880" cy="19694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831169" y="5368754"/>
            <a:ext cx="182880" cy="19694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083518"/>
              </p:ext>
            </p:extLst>
          </p:nvPr>
        </p:nvGraphicFramePr>
        <p:xfrm>
          <a:off x="1863188" y="1130773"/>
          <a:ext cx="8128000" cy="1112520"/>
        </p:xfrm>
        <a:graphic>
          <a:graphicData uri="http://schemas.openxmlformats.org/drawingml/2006/table">
            <a:tbl>
              <a:tblPr bandRow="1">
                <a:tableStyleId>{F2DE63D5-997A-4646-A377-4702673A728D}</a:tableStyleId>
              </a:tblPr>
              <a:tblGrid>
                <a:gridCol w="2032000"/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Entity 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untr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Valid From*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lid T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691663" y="761441"/>
            <a:ext cx="8657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earch 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10184670" y="1415122"/>
            <a:ext cx="1433732" cy="2719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earch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5227907" y="6084827"/>
            <a:ext cx="1433732" cy="2719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ave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3307080" y="1946115"/>
            <a:ext cx="2094914" cy="24592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01/01/2018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398434" y="1946114"/>
            <a:ext cx="2094914" cy="24592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31/12/2018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307080" y="1214762"/>
            <a:ext cx="2094914" cy="24592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" name="Title 1"/>
          <p:cNvSpPr txBox="1">
            <a:spLocks/>
          </p:cNvSpPr>
          <p:nvPr/>
        </p:nvSpPr>
        <p:spPr bwMode="auto">
          <a:xfrm>
            <a:off x="341691" y="102317"/>
            <a:ext cx="10559845" cy="1061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 Narrow" panose="020B0606020202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 Narrow" panose="020B0606020202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 1: Only for 2018, LSI subordinate group to be revised &amp; Bank 7 &amp; Bank8 to be updated 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7369055" y="1185959"/>
            <a:ext cx="2094914" cy="24592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258277" y="3209791"/>
            <a:ext cx="12098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ditable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3034712" y="3209791"/>
            <a:ext cx="12098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ditable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831169" y="5763047"/>
            <a:ext cx="182880" cy="19694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Straight Arrow Connector 39"/>
          <p:cNvCxnSpPr/>
          <p:nvPr/>
        </p:nvCxnSpPr>
        <p:spPr>
          <a:xfrm flipV="1">
            <a:off x="7242446" y="2564205"/>
            <a:ext cx="1174066" cy="146600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8399423" y="2359665"/>
            <a:ext cx="379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ntity exists with partial validity match</a:t>
            </a:r>
            <a:endParaRPr lang="en-US" dirty="0"/>
          </a:p>
        </p:txBody>
      </p:sp>
      <p:sp>
        <p:nvSpPr>
          <p:cNvPr id="45" name="TextBox 44"/>
          <p:cNvSpPr txBox="1"/>
          <p:nvPr/>
        </p:nvSpPr>
        <p:spPr>
          <a:xfrm>
            <a:off x="6928291" y="5934670"/>
            <a:ext cx="4690111" cy="92333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/>
              <a:t>If required current valid from &amp; valid to also can be displayed for partial validity match cases as additional colum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206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4</a:t>
            </a:fld>
            <a:endParaRPr lang="en-US" altLang="en-US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8855102"/>
              </p:ext>
            </p:extLst>
          </p:nvPr>
        </p:nvGraphicFramePr>
        <p:xfrm>
          <a:off x="316211" y="746071"/>
          <a:ext cx="11559578" cy="426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3713"/>
                <a:gridCol w="1736135"/>
                <a:gridCol w="1443914"/>
                <a:gridCol w="1770516"/>
                <a:gridCol w="1609559"/>
                <a:gridCol w="2855741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Entity Grou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PER Unique Identifi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porting entity 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lid Fro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lid T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ctions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LSI Subordi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ank 1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1/2016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31/06/2017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No update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LSI Subordi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CAS00…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Bank </a:t>
                      </a:r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1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31/12/2018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rgbClr val="C00000"/>
                          </a:solidFill>
                        </a:rPr>
                        <a:t>New entry</a:t>
                      </a:r>
                      <a:endParaRPr lang="en-US" sz="16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LSI Subordi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ank 2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3/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31/12/2018</a:t>
                      </a:r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rgbClr val="7030A0"/>
                          </a:solidFill>
                        </a:rPr>
                        <a:t>End date updated</a:t>
                      </a:r>
                      <a:endParaRPr lang="en-US" sz="1600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LSI Subordi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ank 3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 smtClean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update</a:t>
                      </a:r>
                      <a:endParaRPr lang="en-US" sz="16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LSI Subordi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ank 4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rgbClr val="7030A0"/>
                          </a:solidFill>
                        </a:rPr>
                        <a:t>Valid from updated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rgbClr val="7030A0"/>
                          </a:solidFill>
                        </a:rPr>
                        <a:t>Valid to not updated as   higher validity already exists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LSI Subordi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ank 5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3/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31/12/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No update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LSI Subordinate</a:t>
                      </a:r>
                      <a:endParaRPr lang="en-US" dirty="0" smtClean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CAS00…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Bank 6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31/06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rgbClr val="C00000"/>
                          </a:solidFill>
                        </a:rPr>
                        <a:t>New entry. Valid to is as per entity end date</a:t>
                      </a:r>
                      <a:endParaRPr lang="en-US" sz="1600" dirty="0" smtClean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LSI Subordinate</a:t>
                      </a:r>
                      <a:endParaRPr lang="en-US" dirty="0" smtClean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CAS00…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Bank 7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31/12/2018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rgbClr val="C00000"/>
                          </a:solidFill>
                        </a:rPr>
                        <a:t>New entry</a:t>
                      </a:r>
                      <a:endParaRPr lang="en-US" sz="16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4" name="Title 1"/>
          <p:cNvSpPr txBox="1">
            <a:spLocks/>
          </p:cNvSpPr>
          <p:nvPr/>
        </p:nvSpPr>
        <p:spPr bwMode="auto">
          <a:xfrm>
            <a:off x="341691" y="102317"/>
            <a:ext cx="10559845" cy="1061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 Narrow" panose="020B0606020202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 Narrow" panose="020B0606020202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 1: Database entries after save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6361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235974" y="1083511"/>
            <a:ext cx="11451101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en-US" sz="2000" dirty="0" smtClean="0"/>
              <a:t>Action tak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en-US" sz="2000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5</a:t>
            </a:fld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5974" y="384067"/>
            <a:ext cx="10559845" cy="1061269"/>
          </a:xfrm>
        </p:spPr>
        <p:txBody>
          <a:bodyPr/>
          <a:lstStyle/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 2: for 2018 onwards, LSI subordinate group to be revised &amp; Bank 7 &amp; Bank8 to be updated 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971843" y="1895502"/>
            <a:ext cx="2335237" cy="35169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016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321148" y="1895502"/>
            <a:ext cx="2335237" cy="35169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017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5670453" y="1895502"/>
            <a:ext cx="2335237" cy="351692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018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8019758" y="1895502"/>
            <a:ext cx="2335237" cy="351692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…9999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971843" y="2247192"/>
            <a:ext cx="2335237" cy="333768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3321148" y="2247192"/>
            <a:ext cx="2335237" cy="333768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5670453" y="2247192"/>
            <a:ext cx="2335237" cy="33376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8019758" y="2247192"/>
            <a:ext cx="2335237" cy="33376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971844" y="2532184"/>
            <a:ext cx="3473548" cy="26728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50986" y="2883875"/>
            <a:ext cx="6604008" cy="28333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656384" y="3320859"/>
            <a:ext cx="4698611" cy="227733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3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670453" y="3763548"/>
            <a:ext cx="4684542" cy="280382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 4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019757" y="4193460"/>
            <a:ext cx="2335236" cy="244559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ank 5</a:t>
            </a:r>
          </a:p>
        </p:txBody>
      </p:sp>
      <p:sp>
        <p:nvSpPr>
          <p:cNvPr id="27" name="Rectangle 26"/>
          <p:cNvSpPr/>
          <p:nvPr/>
        </p:nvSpPr>
        <p:spPr>
          <a:xfrm>
            <a:off x="5656383" y="5267657"/>
            <a:ext cx="4698610" cy="17045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 8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179206" y="2604688"/>
            <a:ext cx="30444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Valid to increased to </a:t>
            </a:r>
            <a:r>
              <a:rPr lang="en-US" dirty="0" smtClean="0">
                <a:solidFill>
                  <a:srgbClr val="FF0000"/>
                </a:solidFill>
              </a:rPr>
              <a:t>BLANK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3717" y="2204035"/>
            <a:ext cx="1508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B050"/>
                </a:solidFill>
              </a:rPr>
              <a:t>No change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453350" y="3241939"/>
            <a:ext cx="1508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B050"/>
                </a:solidFill>
              </a:rPr>
              <a:t>No change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0354994" y="3576732"/>
            <a:ext cx="18229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Valid from pre-ponded to Jan’18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301759" y="4168002"/>
            <a:ext cx="30444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Valid to increased to </a:t>
            </a:r>
            <a:r>
              <a:rPr lang="en-US" dirty="0" smtClean="0">
                <a:solidFill>
                  <a:srgbClr val="FF0000"/>
                </a:solidFill>
              </a:rPr>
              <a:t>BLANK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627025" y="1241899"/>
            <a:ext cx="23786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Valid from: 01/01/2018</a:t>
            </a:r>
          </a:p>
          <a:p>
            <a:r>
              <a:rPr lang="en-US" dirty="0" smtClean="0"/>
              <a:t>Valid To: BLANK</a:t>
            </a:r>
            <a:endParaRPr lang="en-US" dirty="0"/>
          </a:p>
        </p:txBody>
      </p:sp>
      <p:sp>
        <p:nvSpPr>
          <p:cNvPr id="31" name="Rectangle 30"/>
          <p:cNvSpPr/>
          <p:nvPr/>
        </p:nvSpPr>
        <p:spPr>
          <a:xfrm>
            <a:off x="5656384" y="4748203"/>
            <a:ext cx="1520487" cy="24057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 7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190939" y="4698626"/>
            <a:ext cx="4388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2060"/>
                </a:solidFill>
              </a:rPr>
              <a:t>New entry. Valid </a:t>
            </a:r>
            <a:r>
              <a:rPr lang="en-US" dirty="0" smtClean="0">
                <a:solidFill>
                  <a:srgbClr val="002060"/>
                </a:solidFill>
              </a:rPr>
              <a:t>to </a:t>
            </a:r>
            <a:r>
              <a:rPr lang="en-US" dirty="0" smtClean="0">
                <a:solidFill>
                  <a:srgbClr val="002060"/>
                </a:solidFill>
              </a:rPr>
              <a:t>reduced to Jun’18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0369061" y="5161108"/>
            <a:ext cx="1658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2060"/>
                </a:solidFill>
              </a:rPr>
              <a:t>New entry 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5656383" y="2517004"/>
            <a:ext cx="2363374" cy="25943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ank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8033825" y="2440608"/>
            <a:ext cx="1897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2060"/>
                </a:solidFill>
              </a:rPr>
              <a:t>New entry. </a:t>
            </a:r>
            <a:endParaRPr 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243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6</a:t>
            </a:fld>
            <a:endParaRPr lang="en-US" altLang="en-US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8253936"/>
              </p:ext>
            </p:extLst>
          </p:nvPr>
        </p:nvGraphicFramePr>
        <p:xfrm>
          <a:off x="691663" y="2799478"/>
          <a:ext cx="10506221" cy="360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994"/>
                <a:gridCol w="1735092"/>
                <a:gridCol w="1536495"/>
                <a:gridCol w="1970140"/>
                <a:gridCol w="1970140"/>
                <a:gridCol w="1422680"/>
                <a:gridCol w="1422680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lid Fro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lid T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PER Unique Identifi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porting entity 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tart Da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lose Dat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CAS00…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ank 1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1/2016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CAS00…</a:t>
                      </a:r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Bank 2</a:t>
                      </a:r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01/01/2016</a:t>
                      </a:r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mtClean="0">
                          <a:solidFill>
                            <a:schemeClr val="tx1"/>
                          </a:solidFill>
                        </a:rPr>
                        <a:t>01/01/2018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CAS00…</a:t>
                      </a:r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Bank 4</a:t>
                      </a:r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01/01/2016</a:t>
                      </a:r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 smtClean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CAS00…</a:t>
                      </a:r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Bank 5</a:t>
                      </a:r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01/01/2016</a:t>
                      </a:r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0070C0"/>
                          </a:solidFill>
                        </a:rPr>
                        <a:t>31/06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ank 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1/01/20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31/06/2018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mtClean="0">
                          <a:solidFill>
                            <a:schemeClr val="tx1"/>
                          </a:solidFill>
                        </a:rPr>
                        <a:t>01/01/2018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ank 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/>
                        <a:t>01/01/20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mtClean="0">
                          <a:solidFill>
                            <a:schemeClr val="tx1"/>
                          </a:solidFill>
                        </a:rPr>
                        <a:t>01/01/2018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ank 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1/01/20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ank</a:t>
                      </a:r>
                      <a:r>
                        <a:rPr lang="en-US" baseline="0" dirty="0" smtClean="0"/>
                        <a:t> 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1/01/20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831169" y="3000063"/>
            <a:ext cx="182880" cy="19694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31169" y="3480649"/>
            <a:ext cx="182880" cy="19694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831169" y="3931732"/>
            <a:ext cx="182880" cy="19694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831169" y="4290957"/>
            <a:ext cx="182880" cy="19694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831169" y="4656652"/>
            <a:ext cx="182880" cy="19694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831169" y="5012703"/>
            <a:ext cx="182880" cy="19694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831169" y="5368754"/>
            <a:ext cx="182880" cy="19694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1863188" y="1130773"/>
          <a:ext cx="8128000" cy="1112520"/>
        </p:xfrm>
        <a:graphic>
          <a:graphicData uri="http://schemas.openxmlformats.org/drawingml/2006/table">
            <a:tbl>
              <a:tblPr bandRow="1">
                <a:tableStyleId>{F2DE63D5-997A-4646-A377-4702673A728D}</a:tableStyleId>
              </a:tblPr>
              <a:tblGrid>
                <a:gridCol w="2032000"/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Entity 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untr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Valid From*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lid T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691663" y="761441"/>
            <a:ext cx="8657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earch 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10184670" y="1415122"/>
            <a:ext cx="1433732" cy="2719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earch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5210322" y="6551623"/>
            <a:ext cx="1433732" cy="2719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ave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3307080" y="1946115"/>
            <a:ext cx="2094914" cy="24592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01/01/2018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398434" y="1946114"/>
            <a:ext cx="2094914" cy="24592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307080" y="1214762"/>
            <a:ext cx="2094914" cy="24592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" name="Title 1"/>
          <p:cNvSpPr txBox="1">
            <a:spLocks/>
          </p:cNvSpPr>
          <p:nvPr/>
        </p:nvSpPr>
        <p:spPr bwMode="auto">
          <a:xfrm>
            <a:off x="341691" y="102317"/>
            <a:ext cx="10559845" cy="1061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 Narrow" panose="020B0606020202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 Narrow" panose="020B0606020202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just"/>
            <a:r>
              <a:rPr lang="en-US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 2: for 2018 onwards, LSI subordinate group to be revised &amp; Bank 7 &amp; Bank8 to be updated </a:t>
            </a:r>
          </a:p>
        </p:txBody>
      </p:sp>
      <p:sp>
        <p:nvSpPr>
          <p:cNvPr id="35" name="Rectangle 34"/>
          <p:cNvSpPr/>
          <p:nvPr/>
        </p:nvSpPr>
        <p:spPr>
          <a:xfrm>
            <a:off x="7369055" y="1185959"/>
            <a:ext cx="2094914" cy="24592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831169" y="5769097"/>
            <a:ext cx="182880" cy="19694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1258277" y="3209791"/>
            <a:ext cx="12098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ditable</a:t>
            </a:r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3034712" y="3209791"/>
            <a:ext cx="12098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ditable</a:t>
            </a:r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831169" y="6115136"/>
            <a:ext cx="182880" cy="19694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" name="Straight Arrow Connector 25"/>
          <p:cNvCxnSpPr/>
          <p:nvPr/>
        </p:nvCxnSpPr>
        <p:spPr>
          <a:xfrm flipV="1">
            <a:off x="7242446" y="2564205"/>
            <a:ext cx="1174066" cy="146600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8399423" y="2359665"/>
            <a:ext cx="379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ntity exists with partial validity mat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516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ECB and 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F399C-8B70-4B2F-B054-11CA332F5CAB}" type="slidenum">
              <a:rPr lang="en-US" altLang="en-US" smtClean="0"/>
              <a:pPr/>
              <a:t>7</a:t>
            </a:fld>
            <a:endParaRPr lang="en-US" altLang="en-US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8424720"/>
              </p:ext>
            </p:extLst>
          </p:nvPr>
        </p:nvGraphicFramePr>
        <p:xfrm>
          <a:off x="316211" y="746071"/>
          <a:ext cx="11559578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3713"/>
                <a:gridCol w="1736135"/>
                <a:gridCol w="1443914"/>
                <a:gridCol w="1770516"/>
                <a:gridCol w="1609559"/>
                <a:gridCol w="2855741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Entity Grou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PER Unique Identifi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porting entity 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lid Fro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lid T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ctions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LSI Subordi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ank 1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1/2016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31/06/2017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No update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LSI Subordi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CAS00…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Bank </a:t>
                      </a:r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1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rgbClr val="C00000"/>
                          </a:solidFill>
                        </a:rPr>
                        <a:t>New entry</a:t>
                      </a:r>
                      <a:endParaRPr lang="en-US" sz="16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LSI Subordi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ank 2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3/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rgbClr val="7030A0"/>
                          </a:solidFill>
                        </a:rPr>
                        <a:t>End date updated</a:t>
                      </a:r>
                      <a:endParaRPr lang="en-US" sz="1600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LSI Subordi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ank 3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 smtClean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update</a:t>
                      </a:r>
                      <a:endParaRPr lang="en-US" sz="16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LSI Subordi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ank 4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7030A0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rgbClr val="7030A0"/>
                          </a:solidFill>
                        </a:rPr>
                        <a:t>Valid from updated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rgbClr val="7030A0"/>
                          </a:solidFill>
                        </a:rPr>
                        <a:t>Valid to already blank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LSI Subordin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S00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Bank 5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01/03/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No update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LSI Subordinate</a:t>
                      </a:r>
                      <a:endParaRPr lang="en-US" dirty="0" smtClean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CAS00…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Bank 6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31/06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rgbClr val="C00000"/>
                          </a:solidFill>
                        </a:rPr>
                        <a:t>New entry. Valid to is as per entity end date</a:t>
                      </a:r>
                      <a:endParaRPr lang="en-US" sz="1600" dirty="0" smtClean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LSI Subordinate</a:t>
                      </a:r>
                      <a:endParaRPr lang="en-US" dirty="0" smtClean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CAS00…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Bank 7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C00000"/>
                          </a:solidFill>
                        </a:rPr>
                        <a:t>01/01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rgbClr val="C00000"/>
                          </a:solidFill>
                        </a:rPr>
                        <a:t>New entry</a:t>
                      </a:r>
                      <a:endParaRPr lang="en-US" sz="16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4" name="Title 1"/>
          <p:cNvSpPr txBox="1">
            <a:spLocks/>
          </p:cNvSpPr>
          <p:nvPr/>
        </p:nvSpPr>
        <p:spPr bwMode="auto">
          <a:xfrm>
            <a:off x="341691" y="102317"/>
            <a:ext cx="10559845" cy="1061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 Narrow" panose="020B0606020202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 Narrow" panose="020B0606020202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 Narrow" panose="020B0606020202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just"/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 1: Database entries after save</a:t>
            </a:r>
            <a:endParaRPr lang="en-US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1540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21</TotalTime>
  <Words>757</Words>
  <Application>Microsoft Office PowerPoint</Application>
  <PresentationFormat>Widescreen</PresentationFormat>
  <Paragraphs>320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MS PGothic</vt:lpstr>
      <vt:lpstr>Arial</vt:lpstr>
      <vt:lpstr>Arial Narrow</vt:lpstr>
      <vt:lpstr>Calibri</vt:lpstr>
      <vt:lpstr>Calibri Light</vt:lpstr>
      <vt:lpstr>Wingdings</vt:lpstr>
      <vt:lpstr>Office Theme</vt:lpstr>
      <vt:lpstr>think-cell Folie</vt:lpstr>
      <vt:lpstr>Example: current status of entity assignments to entity group</vt:lpstr>
      <vt:lpstr>Situation 1: Only for 2018, LSI subordinate group to be revised &amp; Bank 6 &amp; Bank7 to be updated </vt:lpstr>
      <vt:lpstr>PowerPoint Presentation</vt:lpstr>
      <vt:lpstr>PowerPoint Presentation</vt:lpstr>
      <vt:lpstr>Situation 2: for 2018 onwards, LSI subordinate group to be revised &amp; Bank 7 &amp; Bank8 to be updated </vt:lpstr>
      <vt:lpstr>PowerPoint Presentation</vt:lpstr>
      <vt:lpstr>PowerPoint Presentation</vt:lpstr>
    </vt:vector>
  </TitlesOfParts>
  <Company>IBM Corporat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IBM</dc:creator>
  <cp:lastModifiedBy>Umesh Nimbalkar</cp:lastModifiedBy>
  <cp:revision>569</cp:revision>
  <cp:lastPrinted>2015-10-11T13:31:53Z</cp:lastPrinted>
  <dcterms:created xsi:type="dcterms:W3CDTF">2015-08-22T15:34:07Z</dcterms:created>
  <dcterms:modified xsi:type="dcterms:W3CDTF">2017-11-30T21:25:35Z</dcterms:modified>
</cp:coreProperties>
</file>